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82" d="100"/>
          <a:sy n="82" d="100"/>
        </p:scale>
        <p:origin x="850" y="48"/>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0</c:v>
                </c:pt>
                <c:pt idx="1">
                  <c:v>2.085</c:v>
                </c:pt>
                <c:pt idx="2">
                  <c:v>1.7849999999999999</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0</c:v>
                </c:pt>
                <c:pt idx="1">
                  <c:v>8.2379999999999995</c:v>
                </c:pt>
                <c:pt idx="2">
                  <c:v>6.8879999999999999</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0</c:v>
                </c:pt>
                <c:pt idx="1">
                  <c:v>2.4329999999999998</c:v>
                </c:pt>
                <c:pt idx="2">
                  <c:v>2.8260000000000001</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0</c:v>
                </c:pt>
                <c:pt idx="1">
                  <c:v>2.7069999999999999</c:v>
                </c:pt>
                <c:pt idx="2">
                  <c:v>3.2639999999999998</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0</c:v>
                </c:pt>
                <c:pt idx="1">
                  <c:v>19.442</c:v>
                </c:pt>
                <c:pt idx="2">
                  <c:v>18.414000000000001</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0</c:v>
                </c:pt>
                <c:pt idx="1">
                  <c:v>6.56</c:v>
                </c:pt>
                <c:pt idx="2">
                  <c:v>9.2520000000000007</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0</c:v>
                </c:pt>
                <c:pt idx="1">
                  <c:v>41.465000000000003</c:v>
                </c:pt>
                <c:pt idx="2">
                  <c:v>42.429000000000002</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ED9BCE0B-D674-4997-997F-F7614D3CCB9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70AED645-5659-4564-BFE7-7782F93BAB2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A839816E-265C-4D20-89D7-8402F0EFBA3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150BCC46-488F-49E4-BCBD-BDD545DA296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39BA866B-094B-41AD-832E-16A958F297E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80335CDD-CFC7-49C6-829F-B98B9340968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E3EDDDFB-AAB8-4D4D-991B-90E49A02386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D962B1B1-F418-42A9-9350-74E85019AFC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B8EA195B-7DBF-40F0-BEAB-1B852C92AF8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79C9AC1D-7069-4CE5-8EFC-ACB3E5A54AE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B640A592-F138-4AA6-A9B6-217BD36B2D4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D81BDFB3-4961-4D6B-A778-7548DD480BC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1FC5C0F8-2F23-403E-8672-FB9073293FB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8ADB41DD-42D0-4691-89BE-DFF982B68A1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7B363EB9-AFE4-45B9-B6C9-16249C533CF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8CFFF0EF-A207-4BA3-903D-7F1465BF902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E15EED1E-1C5A-4F0C-9FEC-7AA5C033796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3E748935-7261-4FE3-B675-F9F57BD563B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Handel</c:v>
                </c:pt>
                <c:pt idx="1">
                  <c:v>Industrie</c:v>
                </c:pt>
                <c:pt idx="2">
                  <c:v>Landbouw, bosbouw en visserij</c:v>
                </c:pt>
                <c:pt idx="3">
                  <c:v>Gezondheids- en welzijnszorg</c:v>
                </c:pt>
                <c:pt idx="4">
                  <c:v>Horeca</c:v>
                </c:pt>
                <c:pt idx="5">
                  <c:v>Verhuur en overige zakelijke diensten</c:v>
                </c:pt>
                <c:pt idx="6">
                  <c:v>Vervoer en opslag</c:v>
                </c:pt>
                <c:pt idx="7">
                  <c:v>Openbaar bestuur en overheidsdiensten</c:v>
                </c:pt>
                <c:pt idx="8">
                  <c:v>Onderwijs</c:v>
                </c:pt>
                <c:pt idx="9">
                  <c:v>Cultuur, sport en recreatie</c:v>
                </c:pt>
                <c:pt idx="10">
                  <c:v>Bouwnijverheid</c:v>
                </c:pt>
                <c:pt idx="11">
                  <c:v>Specialistische zakelijke diensten</c:v>
                </c:pt>
                <c:pt idx="12">
                  <c:v>Financiële dienstverlening</c:v>
                </c:pt>
                <c:pt idx="13">
                  <c:v>Overige dienstverlening</c:v>
                </c:pt>
                <c:pt idx="14">
                  <c:v>Informatie en communicatie</c:v>
                </c:pt>
                <c:pt idx="15">
                  <c:v>Verhuur en handel van onroerend goed</c:v>
                </c:pt>
                <c:pt idx="16">
                  <c:v>Delfstoffenwinning</c:v>
                </c:pt>
                <c:pt idx="17">
                  <c:v>Energievoorziening</c:v>
                </c:pt>
                <c:pt idx="18">
                  <c:v>Waterbedrijven en afvalbeheer</c:v>
                </c:pt>
              </c:strCache>
            </c:strRef>
          </c:cat>
          <c:val>
            <c:numRef>
              <c:f>Sheet1!$B$2:$B$20</c:f>
              <c:numCache>
                <c:formatCode>General</c:formatCode>
                <c:ptCount val="19"/>
                <c:pt idx="0">
                  <c:v>3</c:v>
                </c:pt>
                <c:pt idx="1">
                  <c:v>2.7</c:v>
                </c:pt>
                <c:pt idx="2">
                  <c:v>2.5</c:v>
                </c:pt>
                <c:pt idx="3">
                  <c:v>2.1</c:v>
                </c:pt>
                <c:pt idx="4">
                  <c:v>2</c:v>
                </c:pt>
                <c:pt idx="5">
                  <c:v>1.5</c:v>
                </c:pt>
                <c:pt idx="6">
                  <c:v>0.9</c:v>
                </c:pt>
                <c:pt idx="7">
                  <c:v>0.9</c:v>
                </c:pt>
                <c:pt idx="8">
                  <c:v>0.8</c:v>
                </c:pt>
                <c:pt idx="9">
                  <c:v>0.7</c:v>
                </c:pt>
                <c:pt idx="10">
                  <c:v>0.5</c:v>
                </c:pt>
                <c:pt idx="11">
                  <c:v>0.4</c:v>
                </c:pt>
                <c:pt idx="12">
                  <c:v>0.2</c:v>
                </c:pt>
                <c:pt idx="13">
                  <c:v>0.2</c:v>
                </c:pt>
                <c:pt idx="14">
                  <c:v>0.1</c:v>
                </c:pt>
                <c:pt idx="15">
                  <c:v>0.1</c:v>
                </c:pt>
                <c:pt idx="16">
                  <c:v>0</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3</c:v>
                  </c:pt>
                  <c:pt idx="1">
                    <c:v>2,7</c:v>
                  </c:pt>
                  <c:pt idx="2">
                    <c:v>2,5</c:v>
                  </c:pt>
                  <c:pt idx="3">
                    <c:v>2,1</c:v>
                  </c:pt>
                  <c:pt idx="4">
                    <c:v>2</c:v>
                  </c:pt>
                  <c:pt idx="5">
                    <c:v>1,5</c:v>
                  </c:pt>
                  <c:pt idx="6">
                    <c:v>0,9</c:v>
                  </c:pt>
                  <c:pt idx="7">
                    <c:v>0,9</c:v>
                  </c:pt>
                  <c:pt idx="8">
                    <c:v>0,8</c:v>
                  </c:pt>
                  <c:pt idx="9">
                    <c:v>0,7</c:v>
                  </c:pt>
                  <c:pt idx="10">
                    <c:v>0,5</c:v>
                  </c:pt>
                  <c:pt idx="11">
                    <c:v>0,4</c:v>
                  </c:pt>
                  <c:pt idx="12">
                    <c:v>0,2</c:v>
                  </c:pt>
                  <c:pt idx="13">
                    <c:v>0,2</c:v>
                  </c:pt>
                  <c:pt idx="14">
                    <c:v>0,1</c:v>
                  </c:pt>
                  <c:pt idx="15">
                    <c:v>0,1</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8AFBA852-78EB-42A7-B79A-1BDF59C1DB3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E5A0C3E4-984F-4C29-85EE-AB923C71E9C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6AB4F32F-F457-42DC-A690-55FA8EEC0AD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58FA000E-EF64-47E5-88E9-FF208A371D3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EF3114D0-481A-4363-8FC6-D73BEA8DDA9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B0474032-8383-44FC-9AC1-CCB8ABAAADC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DABCA633-D994-474F-9F3B-4315E6DE35E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386A93C2-1423-4DAC-8303-9BFE43A1EA5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B2C4F497-4420-415E-B325-197E5DFB34D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DFCC3C8B-AFA7-41F3-8A34-CC60BB77A10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F8731C7E-A246-40D9-BFA7-A84519609B3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BE609D78-DF22-46AF-8DE6-101638F57BD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98F16C23-05A7-4A85-ACD0-0FDD1E49161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59B5269C-5D1A-45BC-8122-81D1A9F03D6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642CD209-5B18-43EA-B5EA-AA184A61D7D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E5C5DA00-2535-4898-8041-7432157F5A9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B182ABD5-E250-4BA9-B2E9-0FFD0809C23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4D55584A-0066-4782-9CA8-B1C54427437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0.60000000000000009</c:v>
                </c:pt>
                <c:pt idx="1">
                  <c:v>0</c:v>
                </c:pt>
                <c:pt idx="2">
                  <c:v>-0.10000000000000009</c:v>
                </c:pt>
                <c:pt idx="3">
                  <c:v>0.10000000000000009</c:v>
                </c:pt>
                <c:pt idx="4">
                  <c:v>0.19999999999999996</c:v>
                </c:pt>
                <c:pt idx="5">
                  <c:v>-0.70000000000000018</c:v>
                </c:pt>
                <c:pt idx="6">
                  <c:v>0</c:v>
                </c:pt>
                <c:pt idx="7">
                  <c:v>0.20000000000000007</c:v>
                </c:pt>
                <c:pt idx="8">
                  <c:v>0.10000000000000009</c:v>
                </c:pt>
                <c:pt idx="9">
                  <c:v>0.19999999999999996</c:v>
                </c:pt>
                <c:pt idx="10">
                  <c:v>0</c:v>
                </c:pt>
                <c:pt idx="11">
                  <c:v>-9.9999999999999978E-2</c:v>
                </c:pt>
                <c:pt idx="12">
                  <c:v>-9.9999999999999978E-2</c:v>
                </c:pt>
                <c:pt idx="13">
                  <c:v>0</c:v>
                </c:pt>
                <c:pt idx="14">
                  <c:v>0</c:v>
                </c:pt>
                <c:pt idx="15">
                  <c:v>0.1</c:v>
                </c:pt>
                <c:pt idx="16">
                  <c:v>0</c:v>
                </c:pt>
                <c:pt idx="17">
                  <c:v>0</c:v>
                </c:pt>
                <c:pt idx="18">
                  <c:v>0</c:v>
                </c:pt>
              </c:numCache>
            </c:numRef>
          </c:val>
          <c:extLst>
            <c:ext xmlns:c15="http://schemas.microsoft.com/office/drawing/2012/chart" uri="{02D57815-91ED-43cb-92C2-25804820EDAC}">
              <c15:datalabelsRange>
                <c15:f>Sheet1!$B$2:$B$20</c15:f>
                <c15:dlblRangeCache>
                  <c:ptCount val="19"/>
                  <c:pt idx="0">
                    <c:v>0,6</c:v>
                  </c:pt>
                  <c:pt idx="1">
                    <c:v>-</c:v>
                  </c:pt>
                  <c:pt idx="2">
                    <c:v>-0,1</c:v>
                  </c:pt>
                  <c:pt idx="3">
                    <c:v>0,1</c:v>
                  </c:pt>
                  <c:pt idx="4">
                    <c:v>0,2</c:v>
                  </c:pt>
                  <c:pt idx="5">
                    <c:v>-0,7</c:v>
                  </c:pt>
                  <c:pt idx="6">
                    <c:v>0</c:v>
                  </c:pt>
                  <c:pt idx="7">
                    <c:v>0,2</c:v>
                  </c:pt>
                  <c:pt idx="8">
                    <c:v>0,1</c:v>
                  </c:pt>
                  <c:pt idx="9">
                    <c:v>0,2</c:v>
                  </c:pt>
                  <c:pt idx="10">
                    <c:v>0</c:v>
                  </c:pt>
                  <c:pt idx="11">
                    <c:v>-0,1</c:v>
                  </c:pt>
                  <c:pt idx="12">
                    <c:v>-0,1</c:v>
                  </c:pt>
                  <c:pt idx="13">
                    <c:v>0</c:v>
                  </c:pt>
                  <c:pt idx="14">
                    <c:v>0</c:v>
                  </c:pt>
                  <c:pt idx="15">
                    <c:v>0,1</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0BF7454F-FA87-40BE-B6AD-676220C7738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9D9E3557-F8A4-4011-AC7B-3E1FFDDAC7B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1DC62A38-CD1E-4513-ABD1-7EA0DF8AD84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0FE01DAA-7E15-4F39-B061-719BA79354B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542E0798-C2EB-40FB-AD65-C99FDB7289E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E9F7B9F9-B65B-4897-BB3F-D9DAA74E406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EAB7AC1F-30F3-4FE0-A154-495B99C0EA2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F3059406-7856-460A-8597-493170DE849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61B12865-47CB-4640-8E39-E9A52CAA450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C76BED58-8FBC-4AE3-A9A3-1A2C8625C6C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E0B90046-3231-4196-BF37-0DD1C49DAD2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3DF24918-BF32-4168-B8CC-9DB56526571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9E6F50FF-E68E-4ADA-AB7E-52BCC1BA394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2C3FB11C-52CF-434A-9008-02FF58B0E9B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98E06E75-43C8-4D97-B1BC-B3078F9F143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BBF2D8A3-D347-4961-8FC3-F8AD07E6A99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D9190287-39B0-4CA1-8A01-8F55F9DB420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EF12AEAE-3535-47E5-B29E-A3F540E9153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2.9240030672826212E-2</c:v>
                </c:pt>
                <c:pt idx="1">
                  <c:v>0.60340737282146506</c:v>
                </c:pt>
                <c:pt idx="2">
                  <c:v>10.159973362221463</c:v>
                </c:pt>
                <c:pt idx="3">
                  <c:v>-0.31998991552675182</c:v>
                </c:pt>
                <c:pt idx="4">
                  <c:v>1.1131189231313732</c:v>
                </c:pt>
                <c:pt idx="5">
                  <c:v>-0.36919229515074969</c:v>
                </c:pt>
                <c:pt idx="6">
                  <c:v>4.8376540906635679E-2</c:v>
                </c:pt>
                <c:pt idx="7">
                  <c:v>-0.22052395311966166</c:v>
                </c:pt>
                <c:pt idx="8">
                  <c:v>-0.31917558955915215</c:v>
                </c:pt>
                <c:pt idx="9">
                  <c:v>1.2703742848527781</c:v>
                </c:pt>
                <c:pt idx="10">
                  <c:v>-0.308537708146014</c:v>
                </c:pt>
                <c:pt idx="11">
                  <c:v>-0.65641112246508904</c:v>
                </c:pt>
                <c:pt idx="12">
                  <c:v>-0.65781613274497164</c:v>
                </c:pt>
                <c:pt idx="13">
                  <c:v>-0.32118392115337302</c:v>
                </c:pt>
                <c:pt idx="14">
                  <c:v>-0.83885248548388902</c:v>
                </c:pt>
                <c:pt idx="15">
                  <c:v>-0.33007670821249913</c:v>
                </c:pt>
                <c:pt idx="16">
                  <c:v>0</c:v>
                </c:pt>
                <c:pt idx="17">
                  <c:v>0</c:v>
                </c:pt>
                <c:pt idx="18">
                  <c:v>0</c:v>
                </c:pt>
              </c:numCache>
            </c:numRef>
          </c:val>
          <c:extLst>
            <c:ext xmlns:c15="http://schemas.microsoft.com/office/drawing/2012/chart" uri="{02D57815-91ED-43cb-92C2-25804820EDAC}">
              <c15:datalabelsRange>
                <c15:f>Sheet1!$B$2:$B$20</c15:f>
                <c15:dlblRangeCache>
                  <c:ptCount val="19"/>
                  <c:pt idx="0">
                    <c:v>-3%</c:v>
                  </c:pt>
                  <c:pt idx="1">
                    <c:v>+60%</c:v>
                  </c:pt>
                  <c:pt idx="2">
                    <c:v>+1016%</c:v>
                  </c:pt>
                  <c:pt idx="3">
                    <c:v>-32%</c:v>
                  </c:pt>
                  <c:pt idx="4">
                    <c:v>+111%</c:v>
                  </c:pt>
                  <c:pt idx="5">
                    <c:v>-37%</c:v>
                  </c:pt>
                  <c:pt idx="6">
                    <c:v>+5%</c:v>
                  </c:pt>
                  <c:pt idx="7">
                    <c:v>-22%</c:v>
                  </c:pt>
                  <c:pt idx="8">
                    <c:v>-32%</c:v>
                  </c:pt>
                  <c:pt idx="9">
                    <c:v>+127%</c:v>
                  </c:pt>
                  <c:pt idx="10">
                    <c:v>-31%</c:v>
                  </c:pt>
                  <c:pt idx="11">
                    <c:v>-66%</c:v>
                  </c:pt>
                  <c:pt idx="12">
                    <c:v>-66%</c:v>
                  </c:pt>
                  <c:pt idx="13">
                    <c:v>-32%</c:v>
                  </c:pt>
                  <c:pt idx="14">
                    <c:v>-84%</c:v>
                  </c:pt>
                  <c:pt idx="15">
                    <c:v>-33%</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6875</c:v>
                </c:pt>
                <c:pt idx="1">
                  <c:v>0.71875</c:v>
                </c:pt>
                <c:pt idx="2">
                  <c:v>0.75</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5.5999999046325681E-2</c:v>
                </c:pt>
                <c:pt idx="1">
                  <c:v>0.04</c:v>
                </c:pt>
                <c:pt idx="2">
                  <c:v>2.4000000953674317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027901917665697</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18033963166706529</c:v>
                </c:pt>
                <c:pt idx="1">
                  <c:v>0.19412117576484703</c:v>
                </c:pt>
                <c:pt idx="2">
                  <c:v>0.20027901917665697</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027901917665697</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3.7311647931116958E-2</c:v>
                </c:pt>
                <c:pt idx="1">
                  <c:v>3.4553089382123578E-2</c:v>
                </c:pt>
                <c:pt idx="2">
                  <c:v>3.3813340899955073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027901917665697</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1.1480507055728294E-2</c:v>
                </c:pt>
                <c:pt idx="1">
                  <c:v>1.199760047990402E-2</c:v>
                </c:pt>
                <c:pt idx="2">
                  <c:v>9.4582771748126081E-3</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027901917665697</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14000000000000001</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2</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24</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24</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19</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0.69910714285714293</c:v>
                </c:pt>
                <c:pt idx="2">
                  <c:v>0.69910714285714293</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1.0274285714285714</c:v>
                </c:pt>
                <c:pt idx="4" formatCode="0.0%">
                  <c:v>1.0274285714285714</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0.95939849624060158</c:v>
                </c:pt>
                <c:pt idx="6" formatCode="0.0%">
                  <c:v>0.95939849624060158</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0.77333333333333343</c:v>
                </c:pt>
                <c:pt idx="8" formatCode="0.0%">
                  <c:v>0.77333333333333343</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0.52727272727272734</c:v>
                </c:pt>
                <c:pt idx="10" formatCode="0.0%">
                  <c:v>0.52727272727272734</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52447552447552448</c:v>
                </c:pt>
                <c:pt idx="26">
                  <c:v>0.52447552447552448</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84615384615384615</c:v>
                </c:pt>
                <c:pt idx="28">
                  <c:v>0.84615384615384615</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1.3545150501672241</c:v>
                </c:pt>
                <c:pt idx="30">
                  <c:v>1.3545150501672241</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1.331360946745562</c:v>
                </c:pt>
                <c:pt idx="32">
                  <c:v>1.331360946745562</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1.2426035502958579</c:v>
                </c:pt>
                <c:pt idx="34">
                  <c:v>1.2426035502958579</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1.1724137931034484</c:v>
                </c:pt>
                <c:pt idx="38">
                  <c:v>1.1724137931034484</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1.295825771324864</c:v>
                </c:pt>
                <c:pt idx="40">
                  <c:v>1.295825771324864</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1.2896551724137932</c:v>
                </c:pt>
                <c:pt idx="42">
                  <c:v>1.2896551724137932</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1.3763118440779611</c:v>
                </c:pt>
                <c:pt idx="44">
                  <c:v>1.3763118440779611</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83743842364532017</c:v>
                </c:pt>
                <c:pt idx="46">
                  <c:v>0.83743842364532017</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0</c:v>
                </c:pt>
                <c:pt idx="1">
                  <c:v>2.085</c:v>
                </c:pt>
                <c:pt idx="2">
                  <c:v>1.7849999999999999</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0</c:v>
                </c:pt>
                <c:pt idx="1">
                  <c:v>8.2379999999999995</c:v>
                </c:pt>
                <c:pt idx="2">
                  <c:v>6.8879999999999999</c:v>
                </c:pt>
                <c:pt idx="3">
                  <c:v>7.9000000953674316</c:v>
                </c:pt>
                <c:pt idx="4">
                  <c:v>8.3000001907348633</c:v>
                </c:pt>
                <c:pt idx="5">
                  <c:v>8.1999998092651367</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0</c:v>
                </c:pt>
                <c:pt idx="1">
                  <c:v>2.4329999999999998</c:v>
                </c:pt>
                <c:pt idx="2">
                  <c:v>2.8260000000000001</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0</c:v>
                </c:pt>
                <c:pt idx="1">
                  <c:v>2.7069999999999999</c:v>
                </c:pt>
                <c:pt idx="2">
                  <c:v>3.2639999999999998</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0</c:v>
                </c:pt>
                <c:pt idx="1">
                  <c:v>19.442</c:v>
                </c:pt>
                <c:pt idx="2">
                  <c:v>18.414000000000001</c:v>
                </c:pt>
                <c:pt idx="3">
                  <c:v>22.200000762939453</c:v>
                </c:pt>
                <c:pt idx="4">
                  <c:v>20.200000762939453</c:v>
                </c:pt>
                <c:pt idx="5">
                  <c:v>20.299999237060547</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0</c:v>
                </c:pt>
                <c:pt idx="1">
                  <c:v>6.56</c:v>
                </c:pt>
                <c:pt idx="2">
                  <c:v>9.2520000000000007</c:v>
                </c:pt>
                <c:pt idx="3">
                  <c:v>11.600000381469727</c:v>
                </c:pt>
                <c:pt idx="4">
                  <c:v>12.800000190734863</c:v>
                </c:pt>
                <c:pt idx="5">
                  <c:v>11.899999618530273</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0</c:v>
                </c:pt>
                <c:pt idx="1">
                  <c:v>41.465000000000003</c:v>
                </c:pt>
                <c:pt idx="2">
                  <c:v>42.429000000000002</c:v>
                </c:pt>
                <c:pt idx="3">
                  <c:v>41.700001239776611</c:v>
                </c:pt>
                <c:pt idx="4">
                  <c:v>41.30000114440918</c:v>
                </c:pt>
                <c:pt idx="5">
                  <c:v>40.399998664855957</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7596277818263355</c:v>
                </c:pt>
                <c:pt idx="1">
                  <c:v>0.1533718257749874</c:v>
                </c:pt>
                <c:pt idx="2">
                  <c:v>8.3580918212904309E-2</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309000</c:v>
                </c:pt>
                <c:pt idx="1">
                  <c:v>306000</c:v>
                </c:pt>
                <c:pt idx="2">
                  <c:v>394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600</c:v>
                </c:pt>
                <c:pt idx="1">
                  <c:v>1070</c:v>
                </c:pt>
                <c:pt idx="2">
                  <c:v>1135</c:v>
                </c:pt>
                <c:pt idx="3">
                  <c:v>0</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660</c:v>
                </c:pt>
                <c:pt idx="1">
                  <c:v>1070</c:v>
                </c:pt>
                <c:pt idx="2">
                  <c:v>1255</c:v>
                </c:pt>
                <c:pt idx="3">
                  <c:v>0</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730</c:v>
                </c:pt>
                <c:pt idx="1">
                  <c:v>1165</c:v>
                </c:pt>
                <c:pt idx="2">
                  <c:v>1330</c:v>
                </c:pt>
                <c:pt idx="3">
                  <c:v>0</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pt idx="0">
                  <c:v>0.20547945205479451</c:v>
                </c:pt>
                <c:pt idx="1">
                  <c:v>0</c:v>
                </c:pt>
                <c:pt idx="2">
                  <c:v>4.9056603773584909E-2</c:v>
                </c:pt>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pt idx="0">
                  <c:v>0.14383561643835616</c:v>
                </c:pt>
                <c:pt idx="1">
                  <c:v>2.1645021645021644E-2</c:v>
                </c:pt>
                <c:pt idx="2">
                  <c:v>4.5283018867924525E-2</c:v>
                </c:pt>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pt idx="0">
                  <c:v>0.17123287671232876</c:v>
                </c:pt>
                <c:pt idx="1">
                  <c:v>6.4935064935064929E-2</c:v>
                </c:pt>
                <c:pt idx="2">
                  <c:v>9.056603773584905E-2</c:v>
                </c:pt>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pt idx="0">
                  <c:v>0.15068493150684931</c:v>
                </c:pt>
                <c:pt idx="1">
                  <c:v>0.18181818181818182</c:v>
                </c:pt>
                <c:pt idx="2">
                  <c:v>0.15849056603773584</c:v>
                </c:pt>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pt idx="0">
                  <c:v>0.32876712328767121</c:v>
                </c:pt>
                <c:pt idx="1">
                  <c:v>0.73160173160173159</c:v>
                </c:pt>
                <c:pt idx="2">
                  <c:v>0.65660377358490563</c:v>
                </c:pt>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9.9000000000000005E-2</c:v>
                </c:pt>
                <c:pt idx="1">
                  <c:v>1.3000000000000001E-2</c:v>
                </c:pt>
                <c:pt idx="2">
                  <c:v>3.0000000000000001E-3</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790</c:v>
                </c:pt>
                <c:pt idx="1">
                  <c:v>820</c:v>
                </c:pt>
                <c:pt idx="2">
                  <c:v>750</c:v>
                </c:pt>
                <c:pt idx="3">
                  <c:v>815</c:v>
                </c:pt>
                <c:pt idx="4">
                  <c:v>845</c:v>
                </c:pt>
                <c:pt idx="5">
                  <c:v>835</c:v>
                </c:pt>
                <c:pt idx="6">
                  <c:v>785</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85</c:v>
                </c:pt>
                <c:pt idx="1">
                  <c:v>90</c:v>
                </c:pt>
                <c:pt idx="2">
                  <c:v>95</c:v>
                </c:pt>
                <c:pt idx="3">
                  <c:v>95</c:v>
                </c:pt>
                <c:pt idx="4">
                  <c:v>95</c:v>
                </c:pt>
                <c:pt idx="5">
                  <c:v>95</c:v>
                </c:pt>
                <c:pt idx="6">
                  <c:v>90</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20</c:v>
                </c:pt>
                <c:pt idx="1">
                  <c:v>15</c:v>
                </c:pt>
                <c:pt idx="2">
                  <c:v>20</c:v>
                </c:pt>
                <c:pt idx="3">
                  <c:v>15</c:v>
                </c:pt>
                <c:pt idx="4">
                  <c:v>10</c:v>
                </c:pt>
                <c:pt idx="5">
                  <c:v>10</c:v>
                </c:pt>
                <c:pt idx="6">
                  <c:v>10</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rst aan de Maas</c:v>
                </c:pt>
                <c:pt idx="1">
                  <c:v>Nederland</c:v>
                </c:pt>
              </c:strCache>
            </c:strRef>
          </c:cat>
          <c:val>
            <c:numRef>
              <c:f>Sheet1!$B$2:$B$3</c:f>
              <c:numCache>
                <c:formatCode>0%</c:formatCode>
                <c:ptCount val="2"/>
                <c:pt idx="0">
                  <c:v>0.36309523809523808</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rst aan de Maas</c:v>
                </c:pt>
                <c:pt idx="1">
                  <c:v>Nederland</c:v>
                </c:pt>
              </c:strCache>
            </c:strRef>
          </c:cat>
          <c:val>
            <c:numRef>
              <c:f>Sheet1!$C$2:$C$3</c:f>
              <c:numCache>
                <c:formatCode>0%</c:formatCode>
                <c:ptCount val="2"/>
                <c:pt idx="0">
                  <c:v>0.24285714285714285</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rst aan de Maas</c:v>
                </c:pt>
                <c:pt idx="1">
                  <c:v>Nederland</c:v>
                </c:pt>
              </c:strCache>
            </c:strRef>
          </c:cat>
          <c:val>
            <c:numRef>
              <c:f>Sheet1!$D$2:$D$3</c:f>
              <c:numCache>
                <c:formatCode>0%</c:formatCode>
                <c:ptCount val="2"/>
                <c:pt idx="0">
                  <c:v>0.22619047619047619</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rst aan de Maas</c:v>
                </c:pt>
                <c:pt idx="1">
                  <c:v>Nederland</c:v>
                </c:pt>
              </c:strCache>
            </c:strRef>
          </c:cat>
          <c:val>
            <c:numRef>
              <c:f>Sheet1!$E$2:$E$3</c:f>
              <c:numCache>
                <c:formatCode>0%</c:formatCode>
                <c:ptCount val="2"/>
                <c:pt idx="0">
                  <c:v>0.16785714285714284</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c:v>
                </c:pt>
                <c:pt idx="1">
                  <c:v>0.35399999999999998</c:v>
                </c:pt>
                <c:pt idx="2">
                  <c:v>0.40394089248510251</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8620689979165741</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rst aan de Maas</c:v>
                </c:pt>
                <c:pt idx="1">
                  <c:v>Nederland</c:v>
                </c:pt>
              </c:strCache>
            </c:strRef>
          </c:cat>
          <c:val>
            <c:numRef>
              <c:f>Sheet1!$B$2:$B$3</c:f>
              <c:numCache>
                <c:formatCode>0.0%</c:formatCode>
                <c:ptCount val="2"/>
                <c:pt idx="0">
                  <c:v>0.47048264858396488</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rst aan de Maas</c:v>
                </c:pt>
                <c:pt idx="1">
                  <c:v>Nederland</c:v>
                </c:pt>
              </c:strCache>
            </c:strRef>
          </c:cat>
          <c:val>
            <c:numRef>
              <c:f>Sheet1!$C$2:$C$3</c:f>
              <c:numCache>
                <c:formatCode>0.0%</c:formatCode>
                <c:ptCount val="2"/>
                <c:pt idx="0">
                  <c:v>0.25747905863581971</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rst aan de Maas</c:v>
                </c:pt>
                <c:pt idx="1">
                  <c:v>Nederland</c:v>
                </c:pt>
              </c:strCache>
            </c:strRef>
          </c:cat>
          <c:val>
            <c:numRef>
              <c:f>Sheet1!$D$2:$D$3</c:f>
              <c:numCache>
                <c:formatCode>0.0%</c:formatCode>
                <c:ptCount val="2"/>
                <c:pt idx="0">
                  <c:v>0.21041084962106102</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rst aan de Maas</c:v>
                </c:pt>
                <c:pt idx="1">
                  <c:v>Nederland</c:v>
                </c:pt>
              </c:strCache>
            </c:strRef>
          </c:cat>
          <c:val>
            <c:numRef>
              <c:f>Sheet1!$E$2:$E$3</c:f>
              <c:numCache>
                <c:formatCode>0.0%</c:formatCode>
                <c:ptCount val="2"/>
                <c:pt idx="0">
                  <c:v>6.1627443159154367E-2</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6339C5F1-1273-4037-86B6-B2BAA5972ED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D2B9EB16-1417-4B14-A794-9F73167411BC}"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992927D1-7596-4FFB-B9D9-623A8236524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88F0A556-1858-49B9-9E75-73019A8A5D57}"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E1FB2C92-ABAC-47ED-A5BA-4059A0A22DB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48EE7F14-8A6A-4F84-BEEE-C319AC3685B3}"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keersmisdrijven</c:v>
                </c:pt>
                <c:pt idx="2">
                  <c:v>Vernieling</c:v>
                </c:pt>
                <c:pt idx="3">
                  <c:v>Bedrog</c:v>
                </c:pt>
                <c:pt idx="4">
                  <c:v>Gewelds- en 
seksuele misdrijven</c:v>
                </c:pt>
                <c:pt idx="5">
                  <c:v>Valsheidsmisdrijven</c:v>
                </c:pt>
                <c:pt idx="6">
                  <c:v>Overig</c:v>
                </c:pt>
              </c:strCache>
            </c:strRef>
          </c:cat>
          <c:val>
            <c:numRef>
              <c:f>Sheet1!$B$2:$B$8</c:f>
              <c:numCache>
                <c:formatCode>#,##0</c:formatCode>
                <c:ptCount val="7"/>
                <c:pt idx="0">
                  <c:v>605</c:v>
                </c:pt>
                <c:pt idx="1">
                  <c:v>235</c:v>
                </c:pt>
                <c:pt idx="2">
                  <c:v>150</c:v>
                </c:pt>
                <c:pt idx="3">
                  <c:v>110</c:v>
                </c:pt>
                <c:pt idx="4">
                  <c:v>100</c:v>
                </c:pt>
                <c:pt idx="5">
                  <c:v>65</c:v>
                </c:pt>
                <c:pt idx="6">
                  <c:v>55</c:v>
                </c:pt>
              </c:numCache>
            </c:numRef>
          </c:val>
          <c:extLst>
            <c:ext xmlns:c15="http://schemas.microsoft.com/office/drawing/2012/chart" uri="{02D57815-91ED-43cb-92C2-25804820EDAC}">
              <c15:datalabelsRange>
                <c15:f>Sheet1!$B$2:$B$20</c15:f>
                <c15:dlblRangeCache>
                  <c:ptCount val="19"/>
                  <c:pt idx="0">
                    <c:v>605</c:v>
                  </c:pt>
                  <c:pt idx="1">
                    <c:v>235</c:v>
                  </c:pt>
                  <c:pt idx="2">
                    <c:v>150</c:v>
                  </c:pt>
                  <c:pt idx="3">
                    <c:v>110</c:v>
                  </c:pt>
                  <c:pt idx="4">
                    <c:v>100</c:v>
                  </c:pt>
                  <c:pt idx="5">
                    <c:v>65</c:v>
                  </c:pt>
                  <c:pt idx="6">
                    <c:v>55</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371A3BEB-04C7-41AA-A311-28C1D6CF3397}"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0EF7DF13-70CC-42AC-ABD7-E7E2386BDA1A}"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4A993841-64AC-48B2-B7FE-E0001BE4C099}"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09C5A3E1-295E-4C6D-870F-B784888F0C48}"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F56AD387-E58D-476B-9EDA-D343340AF8C6}"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7D5380BD-8BBB-42B5-A610-F4C89D7EAA11}"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3392332816191867</c:v>
                </c:pt>
                <c:pt idx="1">
                  <c:v>-0.2219998452412528</c:v>
                </c:pt>
                <c:pt idx="2">
                  <c:v>-0.39934044156923942</c:v>
                </c:pt>
                <c:pt idx="3">
                  <c:v>-0.15947346382890759</c:v>
                </c:pt>
                <c:pt idx="4">
                  <c:v>-0.50892420887372769</c:v>
                </c:pt>
                <c:pt idx="5">
                  <c:v>-0.26328756696512867</c:v>
                </c:pt>
                <c:pt idx="6">
                  <c:v>-0.50048495216768507</c:v>
                </c:pt>
              </c:numCache>
            </c:numRef>
          </c:val>
          <c:extLst>
            <c:ext xmlns:c15="http://schemas.microsoft.com/office/drawing/2012/chart" uri="{02D57815-91ED-43cb-92C2-25804820EDAC}">
              <c15:datalabelsRange>
                <c15:f>Sheet1!$B$2:$B$35</c15:f>
                <c15:dlblRangeCache>
                  <c:ptCount val="34"/>
                  <c:pt idx="0">
                    <c:v>-34%</c:v>
                  </c:pt>
                  <c:pt idx="1">
                    <c:v>-22%</c:v>
                  </c:pt>
                  <c:pt idx="2">
                    <c:v>-40%</c:v>
                  </c:pt>
                  <c:pt idx="3">
                    <c:v>-16%</c:v>
                  </c:pt>
                  <c:pt idx="4">
                    <c:v>-51%</c:v>
                  </c:pt>
                  <c:pt idx="5">
                    <c:v>-26%</c:v>
                  </c:pt>
                  <c:pt idx="6">
                    <c:v>-50%</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FF225ECA-68DE-4338-9891-987C963433A4}"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DF67E34C-4377-4A25-84A3-D82B83C000E0}"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2F2274A5-A897-472D-AC90-70C939E11BB3}"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0E89D300-60E2-454A-99E7-8C1D71BF5908}"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18B3ABF3-8B42-494D-BD44-4BC5482796B4}"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68EB-4C02-BB04-52CFC60296C5}"/>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68EB-4C02-BB04-52CFC60296C5}"/>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8EB-4C02-BB04-52CFC60296C5}"/>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68EB-4C02-BB04-52CFC60296C5}"/>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68EB-4C02-BB04-52CFC60296C5}"/>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8EB-4C02-BB04-52CFC60296C5}"/>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68EB-4C02-BB04-52CFC60296C5}"/>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68EB-4C02-BB04-52CFC60296C5}"/>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68EB-4C02-BB04-52CFC60296C5}"/>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68EB-4C02-BB04-52CFC60296C5}"/>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68EB-4C02-BB04-52CFC60296C5}"/>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68EB-4C02-BB04-52CFC60296C5}"/>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8EB-4C02-BB04-52CFC60296C5}"/>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8EB-4C02-BB04-52CFC60296C5}"/>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68EB-4C02-BB04-52CFC60296C5}"/>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8EB-4C02-BB04-52CFC60296C5}"/>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8EB-4C02-BB04-52CFC60296C5}"/>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68EB-4C02-BB04-52CFC60296C5}"/>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68EB-4C02-BB04-52CFC60296C5}"/>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8EB-4C02-BB04-52CFC60296C5}"/>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8EB-4C02-BB04-52CFC60296C5}"/>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68EB-4C02-BB04-52CFC60296C5}"/>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68EB-4C02-BB04-52CFC60296C5}"/>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68EB-4C02-BB04-52CFC60296C5}"/>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68EB-4C02-BB04-52CFC60296C5}"/>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8EB-4C02-BB04-52CFC60296C5}"/>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68EB-4C02-BB04-52CFC60296C5}"/>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8EB-4C02-BB04-52CFC60296C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14422082142737483</c:v>
                </c:pt>
                <c:pt idx="1">
                  <c:v>-0.10317944131490757</c:v>
                </c:pt>
                <c:pt idx="2">
                  <c:v>-2.2298986492366581E-2</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2.3860886329368416E-2</c:v>
                </c:pt>
                <c:pt idx="1">
                  <c:v>-7.1138479873479859E-3</c:v>
                </c:pt>
                <c:pt idx="2">
                  <c:v>-3.9429583192009702E-3</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H'12</c:v>
                  </c:pt>
                  <c:pt idx="1">
                    <c:v>H'17</c:v>
                  </c:pt>
                  <c:pt idx="2">
                    <c:v>H'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81381528-C493-458B-9D27-DA7A161247C4}"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5AB472E8-5145-426D-A927-34C3999A1822}"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ADA19C7F-DA26-489A-AA78-C985E43852D4}"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EE28E452-5D26-4127-AF8C-09B72891434D}"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AC733373-24BC-495E-A558-16C3DAB0CA9E}"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929-4A91-A443-26CC7C62197A}"/>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929-4A91-A443-26CC7C62197A}"/>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929-4A91-A443-26CC7C62197A}"/>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929-4A91-A443-26CC7C62197A}"/>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929-4A91-A443-26CC7C62197A}"/>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929-4A91-A443-26CC7C62197A}"/>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929-4A91-A443-26CC7C62197A}"/>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929-4A91-A443-26CC7C62197A}"/>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D929-4A91-A443-26CC7C62197A}"/>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D929-4A91-A443-26CC7C62197A}"/>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D929-4A91-A443-26CC7C62197A}"/>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D929-4A91-A443-26CC7C62197A}"/>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D929-4A91-A443-26CC7C62197A}"/>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D929-4A91-A443-26CC7C62197A}"/>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D929-4A91-A443-26CC7C62197A}"/>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D929-4A91-A443-26CC7C62197A}"/>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D929-4A91-A443-26CC7C62197A}"/>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D929-4A91-A443-26CC7C62197A}"/>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D929-4A91-A443-26CC7C62197A}"/>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D929-4A91-A443-26CC7C62197A}"/>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D929-4A91-A443-26CC7C62197A}"/>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D929-4A91-A443-26CC7C62197A}"/>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D929-4A91-A443-26CC7C62197A}"/>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D929-4A91-A443-26CC7C62197A}"/>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D929-4A91-A443-26CC7C62197A}"/>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D929-4A91-A443-26CC7C62197A}"/>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D929-4A91-A443-26CC7C62197A}"/>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D929-4A91-A443-26CC7C62197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16540488610110568</c:v>
                </c:pt>
                <c:pt idx="1">
                  <c:v>4.9776474948224549E-2</c:v>
                </c:pt>
                <c:pt idx="2">
                  <c:v>-2.2298986492366581E-2</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8.2605032040542786E-2</c:v>
                </c:pt>
                <c:pt idx="1">
                  <c:v>-0.16390048533343374</c:v>
                </c:pt>
                <c:pt idx="2">
                  <c:v>-3.9429583192009702E-3</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H'12</c:v>
                  </c:pt>
                  <c:pt idx="1">
                    <c:v>H'17</c:v>
                  </c:pt>
                  <c:pt idx="2">
                    <c:v>H'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27579996649354999</c:v>
                </c:pt>
                <c:pt idx="1">
                  <c:v>6.9400234545149944E-2</c:v>
                </c:pt>
                <c:pt idx="2">
                  <c:v>0.1189060144077735</c:v>
                </c:pt>
                <c:pt idx="3">
                  <c:v>0.15706148433573464</c:v>
                </c:pt>
                <c:pt idx="4">
                  <c:v>0.15304071033673983</c:v>
                </c:pt>
                <c:pt idx="5">
                  <c:v>0.16200368570949908</c:v>
                </c:pt>
                <c:pt idx="6">
                  <c:v>1.5371083933657229E-2</c:v>
                </c:pt>
                <c:pt idx="7">
                  <c:v>0</c:v>
                </c:pt>
                <c:pt idx="8">
                  <c:v>1.1559725247110068E-2</c:v>
                </c:pt>
                <c:pt idx="9">
                  <c:v>4.3139554364215113E-3</c:v>
                </c:pt>
                <c:pt idx="10">
                  <c:v>0</c:v>
                </c:pt>
                <c:pt idx="11">
                  <c:v>0</c:v>
                </c:pt>
                <c:pt idx="12">
                  <c:v>9.2142737476964311E-4</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21538577399555672</c:v>
                </c:pt>
                <c:pt idx="1">
                  <c:v>0.10987686862220883</c:v>
                </c:pt>
                <c:pt idx="2">
                  <c:v>0.12926911925292767</c:v>
                </c:pt>
                <c:pt idx="3">
                  <c:v>0.22163648002409911</c:v>
                </c:pt>
                <c:pt idx="4">
                  <c:v>0.13751553262793237</c:v>
                </c:pt>
                <c:pt idx="5">
                  <c:v>3.4642467146138493E-2</c:v>
                </c:pt>
                <c:pt idx="6">
                  <c:v>5.4373611477199983E-2</c:v>
                </c:pt>
                <c:pt idx="7">
                  <c:v>1.6040968482885869E-2</c:v>
                </c:pt>
                <c:pt idx="8">
                  <c:v>1.9203976352750687E-2</c:v>
                </c:pt>
                <c:pt idx="9">
                  <c:v>5.6482283390443195E-3</c:v>
                </c:pt>
                <c:pt idx="10">
                  <c:v>0</c:v>
                </c:pt>
                <c:pt idx="11">
                  <c:v>0</c:v>
                </c:pt>
                <c:pt idx="12">
                  <c:v>9.0371653424709117E-4</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24205709141378146</c:v>
                </c:pt>
                <c:pt idx="1">
                  <c:v>0.13305075209122622</c:v>
                </c:pt>
                <c:pt idx="2">
                  <c:v>0.1216849844330245</c:v>
                </c:pt>
                <c:pt idx="3">
                  <c:v>0.1759630893881991</c:v>
                </c:pt>
                <c:pt idx="4">
                  <c:v>7.412130987658952E-2</c:v>
                </c:pt>
                <c:pt idx="5">
                  <c:v>4.7226077497280465E-2</c:v>
                </c:pt>
                <c:pt idx="6">
                  <c:v>3.5672755917326229E-2</c:v>
                </c:pt>
                <c:pt idx="7">
                  <c:v>4.3362466709178892E-2</c:v>
                </c:pt>
                <c:pt idx="8">
                  <c:v>2.5994973554897032E-2</c:v>
                </c:pt>
                <c:pt idx="9">
                  <c:v>5.7766607899771187E-3</c:v>
                </c:pt>
                <c:pt idx="10">
                  <c:v>1.6504745114220339E-2</c:v>
                </c:pt>
                <c:pt idx="11">
                  <c:v>2.4532052965227504E-2</c:v>
                </c:pt>
                <c:pt idx="12">
                  <c:v>1.0127911774635207E-3</c:v>
                </c:pt>
                <c:pt idx="13">
                  <c:v>1.2378558835665254E-3</c:v>
                </c:pt>
                <c:pt idx="14">
                  <c:v>1.3991522562736787E-2</c:v>
                </c:pt>
                <c:pt idx="15">
                  <c:v>2.0218312764919914E-2</c:v>
                </c:pt>
                <c:pt idx="16">
                  <c:v>1.4254098053190292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2</c:v>
                </c:pt>
                <c:pt idx="1">
                  <c:v>0</c:v>
                </c:pt>
                <c:pt idx="2">
                  <c:v>10</c:v>
                </c:pt>
                <c:pt idx="3">
                  <c:v>0</c:v>
                </c:pt>
                <c:pt idx="4">
                  <c:v>0</c:v>
                </c:pt>
                <c:pt idx="5">
                  <c:v>4</c:v>
                </c:pt>
                <c:pt idx="6">
                  <c:v>2</c:v>
                </c:pt>
                <c:pt idx="7">
                  <c:v>0</c:v>
                </c:pt>
                <c:pt idx="8">
                  <c:v>0</c:v>
                </c:pt>
                <c:pt idx="9">
                  <c:v>0</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2"/>
                <c:pt idx="0">
                  <c:v>Essentie</c:v>
                </c:pt>
                <c:pt idx="1">
                  <c:v>D66/GROENLINKS</c:v>
                </c:pt>
              </c:strCache>
            </c:strRef>
          </c:cat>
          <c:val>
            <c:numRef>
              <c:f>Sheet1!$B$2:$B$9</c:f>
              <c:numCache>
                <c:formatCode>0</c:formatCode>
                <c:ptCount val="8"/>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2"/>
                <c:pt idx="0">
                  <c:v>Essentie</c:v>
                </c:pt>
                <c:pt idx="1">
                  <c:v>D66/GROENLINKS</c:v>
                </c:pt>
              </c:strCache>
            </c:strRef>
          </c:cat>
          <c:val>
            <c:numRef>
              <c:f>Sheet1!$C$2:$C$9</c:f>
              <c:numCache>
                <c:formatCode>0</c:formatCode>
                <c:ptCount val="8"/>
                <c:pt idx="0">
                  <c:v>6</c:v>
                </c:pt>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fld id="{65350B76-2964-4B51-A707-A2C749D76FA7}"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5A9-432E-B386-93EF51010C41}"/>
                </c:ext>
              </c:extLst>
            </c:dLbl>
            <c:dLbl>
              <c:idx val="2"/>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3-35A9-432E-B386-93EF51010C41}"/>
                </c:ext>
              </c:extLst>
            </c:dLbl>
            <c:dLbl>
              <c:idx val="3"/>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35A9-432E-B386-93EF51010C41}"/>
                </c:ext>
              </c:extLst>
            </c:dLbl>
            <c:dLbl>
              <c:idx val="4"/>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5A9-432E-B386-93EF51010C41}"/>
                </c:ext>
              </c:extLst>
            </c:dLbl>
            <c:dLbl>
              <c:idx val="5"/>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9</c:f>
              <c:strCache>
                <c:ptCount val="2"/>
                <c:pt idx="0">
                  <c:v>Essentie</c:v>
                </c:pt>
                <c:pt idx="1">
                  <c:v>D66/GROENLINKS</c:v>
                </c:pt>
              </c:strCache>
            </c:strRef>
          </c:cat>
          <c:val>
            <c:numRef>
              <c:f>Sheet1!$D$2:$D$9</c:f>
              <c:numCache>
                <c:formatCode>0</c:formatCode>
                <c:ptCount val="8"/>
                <c:pt idx="0">
                  <c:v>5</c:v>
                </c:pt>
                <c:pt idx="1">
                  <c:v>4</c:v>
                </c:pt>
              </c:numCache>
            </c:numRef>
          </c:val>
          <c:extLst>
            <c:ext xmlns:c15="http://schemas.microsoft.com/office/drawing/2012/chart" uri="{02D57815-91ED-43cb-92C2-25804820EDAC}">
              <c15:datalabelsRange>
                <c15:f>Sheet1!$D$2:$D$7</c15:f>
                <c15:dlblRangeCache>
                  <c:ptCount val="6"/>
                  <c:pt idx="0">
                    <c:v>5</c:v>
                  </c:pt>
                  <c:pt idx="1">
                    <c:v>4</c:v>
                  </c:pt>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rst aan de Maas</c:v>
                </c:pt>
                <c:pt idx="1">
                  <c:v>Nederland</c:v>
                </c:pt>
              </c:strCache>
            </c:strRef>
          </c:cat>
          <c:val>
            <c:numRef>
              <c:f>Sheet1!$B$2:$B$3</c:f>
              <c:numCache>
                <c:formatCode>0%</c:formatCode>
                <c:ptCount val="2"/>
                <c:pt idx="0">
                  <c:v>0.25328855303666387</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rst aan de Maas</c:v>
                </c:pt>
                <c:pt idx="1">
                  <c:v>Nederland</c:v>
                </c:pt>
              </c:strCache>
            </c:strRef>
          </c:cat>
          <c:val>
            <c:numRef>
              <c:f>Sheet1!$C$2:$C$3</c:f>
              <c:numCache>
                <c:formatCode>0%</c:formatCode>
                <c:ptCount val="2"/>
                <c:pt idx="0">
                  <c:v>0.23369717324377273</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rst aan de Maas</c:v>
                </c:pt>
                <c:pt idx="1">
                  <c:v>Nederland</c:v>
                </c:pt>
              </c:strCache>
            </c:strRef>
          </c:cat>
          <c:val>
            <c:numRef>
              <c:f>Sheet1!$D$2:$D$3</c:f>
              <c:numCache>
                <c:formatCode>0%</c:formatCode>
                <c:ptCount val="2"/>
                <c:pt idx="0">
                  <c:v>6.9269521410579349E-2</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rst aan de Maas</c:v>
                </c:pt>
                <c:pt idx="1">
                  <c:v>Nederland</c:v>
                </c:pt>
              </c:strCache>
            </c:strRef>
          </c:cat>
          <c:val>
            <c:numRef>
              <c:f>Sheet1!$E$2:$E$3</c:f>
              <c:numCache>
                <c:formatCode>0%</c:formatCode>
                <c:ptCount val="2"/>
                <c:pt idx="0">
                  <c:v>0.44374475230898403</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8620689979165741</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c:v>
                </c:pt>
                <c:pt idx="1">
                  <c:v>0.37799999999999995</c:v>
                </c:pt>
                <c:pt idx="2">
                  <c:v>0.58620689979165741</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8620689979165741</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8620689979165741</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Venlo</c:v>
                </c:pt>
                <c:pt idx="1">
                  <c:v>Venray</c:v>
                </c:pt>
                <c:pt idx="2">
                  <c:v>Peel en Maas</c:v>
                </c:pt>
                <c:pt idx="3">
                  <c:v>Eindhoven</c:v>
                </c:pt>
                <c:pt idx="4">
                  <c:v>Nijmegen</c:v>
                </c:pt>
                <c:pt idx="5">
                  <c:v>Tilburg</c:v>
                </c:pt>
                <c:pt idx="6">
                  <c:v>Deurne</c:v>
                </c:pt>
                <c:pt idx="7">
                  <c:v>Maastricht</c:v>
                </c:pt>
                <c:pt idx="8">
                  <c:v>Utrecht</c:v>
                </c:pt>
                <c:pt idx="9">
                  <c:v>Leudal</c:v>
                </c:pt>
              </c:strCache>
            </c:strRef>
          </c:cat>
          <c:val>
            <c:numRef>
              <c:f>Sheet1!$B$2:$B$11</c:f>
              <c:numCache>
                <c:formatCode>General</c:formatCode>
                <c:ptCount val="10"/>
                <c:pt idx="0">
                  <c:v>256</c:v>
                </c:pt>
                <c:pt idx="1">
                  <c:v>211</c:v>
                </c:pt>
                <c:pt idx="2">
                  <c:v>96</c:v>
                </c:pt>
                <c:pt idx="3">
                  <c:v>54</c:v>
                </c:pt>
                <c:pt idx="4">
                  <c:v>51</c:v>
                </c:pt>
                <c:pt idx="5">
                  <c:v>34</c:v>
                </c:pt>
                <c:pt idx="6">
                  <c:v>30</c:v>
                </c:pt>
                <c:pt idx="7">
                  <c:v>27</c:v>
                </c:pt>
                <c:pt idx="8">
                  <c:v>22</c:v>
                </c:pt>
                <c:pt idx="9">
                  <c:v>21</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Venlo</c:v>
                </c:pt>
                <c:pt idx="1">
                  <c:v>Venray</c:v>
                </c:pt>
                <c:pt idx="2">
                  <c:v>Peel en Maas</c:v>
                </c:pt>
                <c:pt idx="3">
                  <c:v>Eindhoven</c:v>
                </c:pt>
                <c:pt idx="4">
                  <c:v>Nijmegen</c:v>
                </c:pt>
                <c:pt idx="5">
                  <c:v>Tilburg</c:v>
                </c:pt>
                <c:pt idx="6">
                  <c:v>Deurne</c:v>
                </c:pt>
                <c:pt idx="7">
                  <c:v>Maastricht</c:v>
                </c:pt>
                <c:pt idx="8">
                  <c:v>Utrecht</c:v>
                </c:pt>
                <c:pt idx="9">
                  <c:v>Leudal</c:v>
                </c:pt>
              </c:strCache>
            </c:strRef>
          </c:cat>
          <c:val>
            <c:numRef>
              <c:f>Sheet1!$C$2:$C$11</c:f>
              <c:numCache>
                <c:formatCode>General</c:formatCode>
                <c:ptCount val="10"/>
                <c:pt idx="0">
                  <c:v>2</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Venlo</c:v>
                </c:pt>
                <c:pt idx="1">
                  <c:v>Venray</c:v>
                </c:pt>
                <c:pt idx="2">
                  <c:v>Peel en Maas</c:v>
                </c:pt>
                <c:pt idx="3">
                  <c:v>Eindhoven</c:v>
                </c:pt>
                <c:pt idx="4">
                  <c:v>Tilburg</c:v>
                </c:pt>
                <c:pt idx="5">
                  <c:v>Amsterdam</c:v>
                </c:pt>
                <c:pt idx="6">
                  <c:v>Nijmegen</c:v>
                </c:pt>
                <c:pt idx="7">
                  <c:v>Maastricht</c:v>
                </c:pt>
                <c:pt idx="8">
                  <c:v>Roermond</c:v>
                </c:pt>
                <c:pt idx="9">
                  <c:v>Deurne</c:v>
                </c:pt>
              </c:strCache>
            </c:strRef>
          </c:cat>
          <c:val>
            <c:numRef>
              <c:f>Sheet1!$B$2:$B$11</c:f>
              <c:numCache>
                <c:formatCode>General</c:formatCode>
                <c:ptCount val="10"/>
                <c:pt idx="0">
                  <c:v>258</c:v>
                </c:pt>
                <c:pt idx="1">
                  <c:v>164</c:v>
                </c:pt>
                <c:pt idx="2">
                  <c:v>86</c:v>
                </c:pt>
                <c:pt idx="3">
                  <c:v>35</c:v>
                </c:pt>
                <c:pt idx="4">
                  <c:v>30</c:v>
                </c:pt>
                <c:pt idx="5">
                  <c:v>29</c:v>
                </c:pt>
                <c:pt idx="6">
                  <c:v>28</c:v>
                </c:pt>
                <c:pt idx="7">
                  <c:v>26</c:v>
                </c:pt>
                <c:pt idx="8">
                  <c:v>26</c:v>
                </c:pt>
                <c:pt idx="9">
                  <c:v>25</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Venlo</c:v>
                </c:pt>
                <c:pt idx="1">
                  <c:v>Venray</c:v>
                </c:pt>
                <c:pt idx="2">
                  <c:v>Peel en Maas</c:v>
                </c:pt>
                <c:pt idx="3">
                  <c:v>Eindhoven</c:v>
                </c:pt>
                <c:pt idx="4">
                  <c:v>Tilburg</c:v>
                </c:pt>
                <c:pt idx="5">
                  <c:v>Amsterdam</c:v>
                </c:pt>
                <c:pt idx="6">
                  <c:v>Nijmegen</c:v>
                </c:pt>
                <c:pt idx="7">
                  <c:v>Maastricht</c:v>
                </c:pt>
                <c:pt idx="8">
                  <c:v>Roermond</c:v>
                </c:pt>
                <c:pt idx="9">
                  <c:v>Deurne</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8.3333333333333329E-2</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5</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16666666666666666</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25</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7-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6"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DB6D67A-0A3E-481B-9F6D-35A7AB5CCE11}"/>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 y="-1270000"/>
            <a:ext cx="12700000" cy="10048367"/>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2602651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Horst aan de Maas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Horst aan de Maas</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265595472"/>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3209142659"/>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Horst aan de Maas vallen 19,0% van de huishoudens in de hoogste inkomensgroep (rijkste 20% van Nederland). Er zijn dus relatief weinig rijken in Horst aan de Maas. De oranje balk komt dus onder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Horst aan de Maas zijn de arme eenpersoonshuishoudens ondervertegenwoordigd. De oranje balk komt dus onder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Horst aan de Maas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Horst aan de Maas</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17.839</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104</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2.381</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28%</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4001490543"/>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454188745"/>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Horst aan de Maas</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2.320</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55</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0</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9%</a:t>
            </a: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17%</a:t>
            </a: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1073757465"/>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533359428"/>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Horst aan de Maas</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0,2%</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2,8%</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9,1%</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3438066403"/>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1945752899"/>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Horst aan de Maas</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Horst aan de Maas</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Horst aan de Maas</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Horst aan de Maas</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Horst aan de Maas</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Horst aan de Maas</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3.101</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2.359</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80</a:t>
            </a: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187 me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417 me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12 mind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1981356191"/>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1372662290"/>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Horst aan de Maas</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31,2</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Bedrog</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Gewelds- en 
seksuele misdrijven</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Drugsmisdrijven(20), Heling(10) en Harddrugs(10).</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1.320</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34%</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798539818"/>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2178240753"/>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Horst aan de Maas het minst ond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Horst aan de Maas het meest ond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Horst aan de Maas</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Horst aan de Maas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Horst aan de Maas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Horst aan de Maas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1894752142"/>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3503575680"/>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Horst aan de Maas</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Horst aan de Maas</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33.063</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81%</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729373340"/>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Horst aan de Maas</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Horst aan de Maas</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34.179</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56,6%</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4192875929"/>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4251725239"/>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Horst aan de Maas</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82</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9,8%</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21,6%</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2169403852"/>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hidden="1">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Horst aan de Maas</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Horst aan de Maas</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4172925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42.429</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42.429</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50</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36</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89</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3124086294"/>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groei van 25%</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Horst aan de Maas</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12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7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2%</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6</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40</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88</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213989583"/>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Horst aan de Maas</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629066114"/>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4075729976"/>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Horst aan de Maas</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2265705262"/>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3823994124"/>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44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0%</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2%</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Horst aan de Maas</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67% van de verhuizers naar Horst aan de Maas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55% van de verhuizers weg uit Horst aan de Maas</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988500690"/>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1713863379"/>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Horst aan de Maas</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Horst aan de Maas</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18.6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24.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0,83</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1640460280"/>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Horst aan de Maas</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Handel</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3.0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Gezondheids- en welzijnszorg</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a:solidFill>
                  <a:srgbClr val="EC6224"/>
                </a:solidFill>
              </a:rPr>
              <a:t>+1.9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Landbouw, bosbouw en visserij</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1016%</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3875327210"/>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327295826"/>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4226580668"/>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Horst aan de Maas</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45.000</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45%</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gemeente van Nederland met het hoo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3085449458"/>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2170101175"/>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2572519751"/>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415756381"/>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586563704"/>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6,3%</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3,2%</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2,%</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3%</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2%</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Horst aan de Maas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Horst aan de Maas</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146</Words>
  <Application>Microsoft Office PowerPoint</Application>
  <PresentationFormat>Widescreen</PresentationFormat>
  <Paragraphs>428</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Horst aan de Maas</vt:lpstr>
      <vt:lpstr>PowerPoint Presentation</vt:lpstr>
      <vt:lpstr>Historische bevolkingsontwikkeling Horst aan de Maa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4</cp:revision>
  <dcterms:created xsi:type="dcterms:W3CDTF">2020-10-22T09:20:51Z</dcterms:created>
  <dcterms:modified xsi:type="dcterms:W3CDTF">2021-11-17T12:07:35Z</dcterms:modified>
</cp:coreProperties>
</file>